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9728200" cy="7445375"/>
  <p:notesSz cx="6858000" cy="9144000"/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944" y="-102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6/2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95950" y="7222045"/>
            <a:ext cx="137185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Leadership development toolkit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335513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ridgespan.org/Publications-and-Tools/Leadership-Effectiveness/Nonprofit-Leadership-Development-Toolkit/Understand-Future-Needs/Map-Out-Your-Organizations-Future-Needs.aspx" TargetMode="External"/><Relationship Id="rId7" Type="http://schemas.openxmlformats.org/officeDocument/2006/relationships/hyperlink" Target="http://www.bridgespan.org/Publications-and-Tools/Leadership-Effectiveness/Nonprofit-Leadership-Development-Toolkit/Develop-Future-Leaders/Create-a-70-20-10-Development-Plan.aspx" TargetMode="External"/><Relationship Id="rId2" Type="http://schemas.openxmlformats.org/officeDocument/2006/relationships/hyperlink" Target="http://www.bridgespan.org/Publications-and-Tools/Leadership-Effectiveness/Nonprofit-Leadership-Development-Toolkit/Understand-Future-Needs/Video-Tutorial-Understanding-Your-Future-Leadershi.aspx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bridgespan.org/Publications-and-Tools/Leadership-Effectiveness/Nonprofit-Leadership-Development-Toolkit/Develop-Future-Leaders/Video-Tutorial-70-20-10-Leadership-Development-Pla.aspx" TargetMode="External"/><Relationship Id="rId5" Type="http://schemas.openxmlformats.org/officeDocument/2006/relationships/hyperlink" Target="http://www.bridgespan.org/Publications-and-Tools/Leadership-Effectiveness/Nonprofit-Leadership-Development-Toolkit/Understand-Future-Needs/Evaluate-Your-Staff-to-Identify-Leaders.aspx" TargetMode="External"/><Relationship Id="rId4" Type="http://schemas.openxmlformats.org/officeDocument/2006/relationships/hyperlink" Target="http://www.bridgespan.org/Publications-and-Tools/Leadership-Effectiveness/Nonprofit-Leadership-Development-Toolkit/Understand-Future-Needs/Video-Tutorial-Performance-Potential-Matrix.aspx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Your next step: Create a Plan A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r>
              <a:rPr lang="en-CA" sz="1000" noProof="0" smtClean="0">
                <a:latin typeface="Arial" pitchFamily="34" charset="0"/>
                <a:cs typeface="Arial" pitchFamily="34" charset="0"/>
              </a:rPr>
              <a:t> </a:t>
            </a:r>
            <a:endParaRPr lang="en-CA" sz="10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427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afting your Plan A</a:t>
            </a:r>
            <a:endParaRPr lang="en-US" dirty="0"/>
          </a:p>
        </p:txBody>
      </p:sp>
      <p:sp>
        <p:nvSpPr>
          <p:cNvPr id="3" name="Source"/>
          <p:cNvSpPr>
            <a:spLocks noGrp="1"/>
          </p:cNvSpPr>
          <p:nvPr/>
        </p:nvSpPr>
        <p:spPr bwMode="auto">
          <a:xfrm>
            <a:off x="1023961" y="1512887"/>
            <a:ext cx="7405431" cy="423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>
                <a:latin typeface="Arial" pitchFamily="34" charset="0"/>
                <a:cs typeface="Arial" pitchFamily="34" charset="0"/>
              </a:rPr>
              <a:t>Plan A is a vision of your organization’s future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leadership </a:t>
            </a:r>
            <a:r>
              <a:rPr lang="en-US" dirty="0">
                <a:latin typeface="Arial" pitchFamily="34" charset="0"/>
                <a:cs typeface="Arial" pitchFamily="34" charset="0"/>
              </a:rPr>
              <a:t>team (say, three to five years out), including the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capabilities </a:t>
            </a:r>
            <a:r>
              <a:rPr lang="en-US" dirty="0">
                <a:latin typeface="Arial" pitchFamily="34" charset="0"/>
                <a:cs typeface="Arial" pitchFamily="34" charset="0"/>
              </a:rPr>
              <a:t>and roles needed to achieve your strategy, and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n </a:t>
            </a:r>
            <a:r>
              <a:rPr lang="en-US" dirty="0">
                <a:latin typeface="Arial" pitchFamily="34" charset="0"/>
                <a:cs typeface="Arial" pitchFamily="34" charset="0"/>
              </a:rPr>
              <a:t>overview of the development steps you plan to take to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build </a:t>
            </a:r>
            <a:r>
              <a:rPr lang="en-US" dirty="0">
                <a:latin typeface="Arial" pitchFamily="34" charset="0"/>
                <a:cs typeface="Arial" pitchFamily="34" charset="0"/>
              </a:rPr>
              <a:t>that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eam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ep On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Identify “Key Roles” by watching the </a:t>
            </a:r>
            <a:r>
              <a:rPr lang="en-US" dirty="0" smtClean="0">
                <a:latin typeface="Arial" pitchFamily="34" charset="0"/>
                <a:cs typeface="Arial" pitchFamily="34" charset="0"/>
                <a:hlinkClick r:id="rId2"/>
              </a:rPr>
              <a:t>Understanding Future Needs video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and filling out the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3"/>
              </a:rPr>
              <a:t>Future Needs Assessment</a:t>
            </a:r>
            <a:endParaRPr lang="en-US" u="sng" dirty="0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Two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Identify future leaders for key roles by watching the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4"/>
              </a:rPr>
              <a:t>Performance-Potential </a:t>
            </a:r>
            <a:r>
              <a:rPr lang="en-US" u="sng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4"/>
              </a:rPr>
              <a:t>Matrix video</a:t>
            </a:r>
            <a:r>
              <a:rPr lang="en-US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nd filling out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5"/>
              </a:rPr>
              <a:t>your own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5"/>
              </a:rPr>
              <a:t>matrix</a:t>
            </a:r>
            <a:endParaRPr lang="en-US" u="sng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Thre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To better understand how to develop future leaders to take on these key roles, watch the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6"/>
              </a:rPr>
              <a:t>70/20/10 </a:t>
            </a:r>
            <a:r>
              <a:rPr lang="en-US" u="sng" dirty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6"/>
              </a:rPr>
              <a:t>Development Plans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6"/>
              </a:rPr>
              <a:t>video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nd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fill out a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7"/>
              </a:rPr>
              <a:t>development plan</a:t>
            </a:r>
            <a:r>
              <a:rPr lang="en-US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for a future leader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921714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880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ample Plan A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64206"/>
              </p:ext>
            </p:extLst>
          </p:nvPr>
        </p:nvGraphicFramePr>
        <p:xfrm>
          <a:off x="236442" y="1560052"/>
          <a:ext cx="9347428" cy="48371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9486"/>
                <a:gridCol w="1341952"/>
                <a:gridCol w="1341952"/>
                <a:gridCol w="1341952"/>
                <a:gridCol w="3452086"/>
              </a:tblGrid>
              <a:tr h="370919"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Key role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Comment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</a:tr>
              <a:tr h="37091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Executive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Jane Michaels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Jane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Michaels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Jane Michaels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o change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945081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Senior Program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/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/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George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Mendoz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George should take on additional operational roles across 2013-14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; if he delivers, he will move into this senior program director role in 2015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316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Program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George Mendoz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George Mendoz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/a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f George is promoted, this role will be replaced by the new senior program director role in 2015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91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Program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Sarah Mille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Sarah Mille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Sarah Mille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o change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115848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hief Development Office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Tom Smith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ynthia Reed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ynthia Reed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ynthia should use 2013 to build her skills with corporate and foundation donors, and implement a development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metrics dashboard; if she delivers, she will be ready to move into the CDO role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919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HR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Ellen David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Ellen David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Ellen David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o change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51827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hief Financial Office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TBH in 2013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TBH in 2013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TBH in 2013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TBD – This will likely be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an external hire, due to the junior finance bench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418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Create your own Plan A using </a:t>
            </a:r>
            <a:r>
              <a:rPr lang="en-US" smtClean="0">
                <a:latin typeface="Arial" pitchFamily="34" charset="0"/>
                <a:cs typeface="Arial" pitchFamily="34" charset="0"/>
              </a:rPr>
              <a:t>your Future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Needs Assessment and Performance-Potential Assessment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497896"/>
              </p:ext>
            </p:extLst>
          </p:nvPr>
        </p:nvGraphicFramePr>
        <p:xfrm>
          <a:off x="236442" y="1560051"/>
          <a:ext cx="9347428" cy="55904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69486"/>
                <a:gridCol w="1341952"/>
                <a:gridCol w="1341952"/>
                <a:gridCol w="1341952"/>
                <a:gridCol w="3452086"/>
              </a:tblGrid>
              <a:tr h="698802"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Key role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3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4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2015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Clr>
                          <a:srgbClr val="FFFFFF"/>
                        </a:buClr>
                      </a:pPr>
                      <a:r>
                        <a:rPr lang="en-US" sz="1400" b="1" dirty="0" smtClean="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rPr>
                        <a:t>Comment</a:t>
                      </a:r>
                      <a:endParaRPr lang="en-US" sz="1400" b="1" dirty="0">
                        <a:solidFill>
                          <a:srgbClr val="FFFFFF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974"/>
                    </a:solidFill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Executive Director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698802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…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581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heme/theme1.xml><?xml version="1.0" encoding="utf-8"?>
<a:theme xmlns:a="http://schemas.openxmlformats.org/drawingml/2006/main" name="Bridgespan Group">
  <a:themeElements>
    <a:clrScheme name="Custom 2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7030A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415</TotalTime>
  <Words>343</Words>
  <Application>Microsoft Office PowerPoint</Application>
  <PresentationFormat>Custom</PresentationFormat>
  <Paragraphs>66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Bridgespan Group</vt:lpstr>
      <vt:lpstr>think-cell Slide</vt:lpstr>
      <vt:lpstr>Your next step: Create a Plan A</vt:lpstr>
      <vt:lpstr>Drafting your Plan A</vt:lpstr>
      <vt:lpstr>Sample Plan A</vt:lpstr>
      <vt:lpstr>Create your own Plan A using your Future Needs Assessment and Performance-Potential Assessment</vt:lpstr>
    </vt:vector>
  </TitlesOfParts>
  <Company>Bain &amp; Compan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Carole Matthews</cp:lastModifiedBy>
  <cp:revision>46</cp:revision>
  <dcterms:created xsi:type="dcterms:W3CDTF">2013-06-11T13:31:30Z</dcterms:created>
  <dcterms:modified xsi:type="dcterms:W3CDTF">2013-06-26T15:07:43Z</dcterms:modified>
</cp:coreProperties>
</file>